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51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24F5EE5-21F8-50C1-127C-30E3489BAAA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413B01-F29C-48CE-4A81-410CACF6D50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AE29BF-A881-A8E5-BDE3-B2B0EFC1B628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DF722A-368F-C472-635A-126CBD98DB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8927FEE-EBB1-D96F-4AF4-54A6817CFF6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725DCD7-9132-4C5F-DFF5-DA2C65927A3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Header 1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15522B1-AA91-4200-DC4D-81EF8E7AA89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/>
              <a:t>Header 2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37F31D1-A8D5-32F6-E7C6-34C1C2A1861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/>
              <a:t>Header 3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88613A8-BD15-6FA8-6FE0-81209A76F3F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r>
              <a:rPr lang="en-US" dirty="0"/>
              <a:t> 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eros </a:t>
            </a:r>
            <a:r>
              <a:rPr lang="en-US" dirty="0" err="1"/>
              <a:t>quis</a:t>
            </a:r>
            <a:r>
              <a:rPr lang="en-US" dirty="0"/>
              <a:t> Nunc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.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15E3975-6544-5777-054E-23299448461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r>
              <a:rPr lang="en-US" dirty="0"/>
              <a:t> 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eros </a:t>
            </a:r>
            <a:r>
              <a:rPr lang="en-US" dirty="0" err="1"/>
              <a:t>quis</a:t>
            </a:r>
            <a:r>
              <a:rPr lang="en-US" dirty="0"/>
              <a:t> Nunc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. 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35F6FAC-A77E-5240-0F01-12D27453BB3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r>
              <a:rPr lang="en-US" dirty="0"/>
              <a:t> 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eros </a:t>
            </a:r>
            <a:r>
              <a:rPr lang="en-US" dirty="0" err="1"/>
              <a:t>quis</a:t>
            </a:r>
            <a:r>
              <a:rPr lang="en-US" dirty="0"/>
              <a:t> Nunc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.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DC1CED0-A8C3-6B39-0E0F-231C1132DC6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en-US" dirty="0"/>
              <a:t>Pyramid Title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8E04FB66-09F3-4747-2CC3-DD15E6C91F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ree Column Pyramid</a:t>
            </a:r>
          </a:p>
        </p:txBody>
      </p:sp>
    </p:spTree>
    <p:extLst>
      <p:ext uri="{BB962C8B-B14F-4D97-AF65-F5344CB8AC3E}">
        <p14:creationId xmlns:p14="http://schemas.microsoft.com/office/powerpoint/2010/main" val="19074126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81</TotalTime>
  <Words>129</Words>
  <Application>Microsoft Office PowerPoint</Application>
  <PresentationFormat>Widescreen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Three Column Pyramid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07</cp:revision>
  <dcterms:created xsi:type="dcterms:W3CDTF">2025-07-09T10:57:17Z</dcterms:created>
  <dcterms:modified xsi:type="dcterms:W3CDTF">2025-10-22T09:34:24Z</dcterms:modified>
  <cp:category/>
</cp:coreProperties>
</file>